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1"/>
  </p:notesMasterIdLst>
  <p:sldIdLst>
    <p:sldId id="282" r:id="rId2"/>
    <p:sldId id="261" r:id="rId3"/>
    <p:sldId id="267" r:id="rId4"/>
    <p:sldId id="262" r:id="rId5"/>
    <p:sldId id="263" r:id="rId6"/>
    <p:sldId id="265" r:id="rId7"/>
    <p:sldId id="258" r:id="rId8"/>
    <p:sldId id="279" r:id="rId9"/>
    <p:sldId id="269" r:id="rId10"/>
    <p:sldId id="271" r:id="rId11"/>
    <p:sldId id="270" r:id="rId12"/>
    <p:sldId id="272" r:id="rId13"/>
    <p:sldId id="259" r:id="rId14"/>
    <p:sldId id="274" r:id="rId15"/>
    <p:sldId id="276" r:id="rId16"/>
    <p:sldId id="275" r:id="rId17"/>
    <p:sldId id="278" r:id="rId18"/>
    <p:sldId id="280" r:id="rId19"/>
    <p:sldId id="281" r:id="rId2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84" charset="0"/>
        <a:ea typeface="ＭＳ Ｐゴシック" pitchFamily="84" charset="-128"/>
        <a:cs typeface="ＭＳ Ｐゴシック" pitchFamily="84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7A7A"/>
    <a:srgbClr val="29211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46" autoAdjust="0"/>
    <p:restoredTop sz="79664" autoAdjust="0"/>
  </p:normalViewPr>
  <p:slideViewPr>
    <p:cSldViewPr>
      <p:cViewPr varScale="1">
        <p:scale>
          <a:sx n="81" d="100"/>
          <a:sy n="81" d="100"/>
        </p:scale>
        <p:origin x="-1144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-376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printerSettings" Target="printerSettings/printerSettings1.bin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E0AB6-6C22-174D-8A7C-235B1E209504}" type="datetimeFigureOut">
              <a:rPr lang="en-US" smtClean="0"/>
              <a:t>1/27/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14A284-1CB7-6945-BB9C-2B9680FB86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850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ite as: </a:t>
            </a:r>
            <a:r>
              <a:rPr lang="en-US" dirty="0" err="1" smtClean="0"/>
              <a:t>Saxberg</a:t>
            </a:r>
            <a:r>
              <a:rPr lang="en-US" dirty="0" smtClean="0"/>
              <a:t>, B. (2012, January). Assessing quality: Learner analytics, or human intuition?. Presentation at Conversations on quality: a symposium on k-12 online learning, Cambridge, MA.</a:t>
            </a:r>
          </a:p>
          <a:p>
            <a:endParaRPr lang="en-US" dirty="0" smtClean="0"/>
          </a:p>
          <a:p>
            <a:r>
              <a:rPr lang="en-US" dirty="0" smtClean="0"/>
              <a:t>Unless otherwise specified, this work is licensed under a Creative Commons Attribution 3.0 United States Licen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3709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679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399"/>
            <a:ext cx="5486400" cy="4636247"/>
          </a:xfrm>
        </p:spPr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0641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1781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4886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2392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620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7219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746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3791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492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2995613" cy="22463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163049"/>
            <a:ext cx="5486400" cy="41148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632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401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9461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588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473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14A284-1CB7-6945-BB9C-2B9680FB866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808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61FAE5-D08B-4818-8ECC-A8B956F29B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6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D024BB-AA12-40DB-AA7E-2B512FE312F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6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CCD22-2A4D-4FA3-9128-AE811F983A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971800"/>
            <a:ext cx="3810000" cy="29718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2971800"/>
            <a:ext cx="3810000" cy="29718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24B733-34E2-4F1A-A83F-1A93CEE720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 bwMode="auto">
          <a:xfrm>
            <a:off x="457200" y="1905000"/>
            <a:ext cx="8153400" cy="7620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9pPr>
          </a:lstStyle>
          <a:p>
            <a:pPr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713038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3429001"/>
            <a:ext cx="4040188" cy="269716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2713038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8999"/>
            <a:ext cx="4041775" cy="26971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766AB-6D40-4D08-90AD-91176BC9FC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63E3D5-B6D9-452F-AC12-0877E5FA74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9F33E3-F217-495E-AFA1-E8FE62FADA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07206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2133599"/>
            <a:ext cx="5486400" cy="289560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638800"/>
            <a:ext cx="5486400" cy="533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5D292B-9754-4633-8D55-9D45B7F0EE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057400"/>
            <a:ext cx="8153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971800"/>
            <a:ext cx="7772400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00200" y="6477000"/>
            <a:ext cx="4800600" cy="2286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algn="ctr" eaLnBrk="0" hangingPunct="0">
              <a:defRPr sz="1400" dirty="0">
                <a:latin typeface="+mj-lt"/>
                <a:ea typeface="ＭＳ Ｐゴシック" pitchFamily="-12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09600" y="6477000"/>
            <a:ext cx="914400" cy="2286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smtClean="0">
                <a:latin typeface="+mj-lt"/>
                <a:ea typeface="ＭＳ Ｐゴシック" pitchFamily="-128" charset="-128"/>
                <a:cs typeface="+mn-cs"/>
              </a:defRPr>
            </a:lvl1pPr>
          </a:lstStyle>
          <a:p>
            <a:pPr>
              <a:defRPr/>
            </a:pPr>
            <a:fld id="{E18A30B8-FD22-4816-8DBB-44170F86BF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5" r:id="rId2"/>
    <p:sldLayoutId id="2147483654" r:id="rId3"/>
    <p:sldLayoutId id="2147483653" r:id="rId4"/>
    <p:sldLayoutId id="2147483657" r:id="rId5"/>
    <p:sldLayoutId id="2147483652" r:id="rId6"/>
    <p:sldLayoutId id="2147483651" r:id="rId7"/>
    <p:sldLayoutId id="2147483650" r:id="rId8"/>
  </p:sldLayoutIdLst>
  <p:txStyles>
    <p:titleStyle>
      <a:lvl1pPr algn="l" rtl="0" fontAlgn="base">
        <a:spcBef>
          <a:spcPct val="0"/>
        </a:spcBef>
        <a:spcAft>
          <a:spcPct val="0"/>
        </a:spcAft>
        <a:defRPr sz="3200">
          <a:solidFill>
            <a:schemeClr val="bg2"/>
          </a:solidFill>
          <a:latin typeface="+mj-lt"/>
          <a:ea typeface="+mj-ea"/>
          <a:cs typeface="ＭＳ Ｐゴシック" pitchFamily="84" charset="-128"/>
        </a:defRPr>
      </a:lvl1pPr>
      <a:lvl2pPr algn="l" rtl="0" fontAlgn="base">
        <a:spcBef>
          <a:spcPct val="0"/>
        </a:spcBef>
        <a:spcAft>
          <a:spcPct val="0"/>
        </a:spcAft>
        <a:defRPr sz="3200">
          <a:solidFill>
            <a:schemeClr val="bg2"/>
          </a:solidFill>
          <a:latin typeface="DIN-Medium" pitchFamily="-128" charset="0"/>
          <a:ea typeface="ＭＳ Ｐゴシック" pitchFamily="-128" charset="-128"/>
          <a:cs typeface="ＭＳ Ｐゴシック" pitchFamily="84" charset="-128"/>
        </a:defRPr>
      </a:lvl2pPr>
      <a:lvl3pPr algn="l" rtl="0" fontAlgn="base">
        <a:spcBef>
          <a:spcPct val="0"/>
        </a:spcBef>
        <a:spcAft>
          <a:spcPct val="0"/>
        </a:spcAft>
        <a:defRPr sz="3200">
          <a:solidFill>
            <a:schemeClr val="bg2"/>
          </a:solidFill>
          <a:latin typeface="DIN-Medium" pitchFamily="-128" charset="0"/>
          <a:ea typeface="ＭＳ Ｐゴシック" pitchFamily="-128" charset="-128"/>
          <a:cs typeface="ＭＳ Ｐゴシック" pitchFamily="84" charset="-128"/>
        </a:defRPr>
      </a:lvl3pPr>
      <a:lvl4pPr algn="l" rtl="0" fontAlgn="base">
        <a:spcBef>
          <a:spcPct val="0"/>
        </a:spcBef>
        <a:spcAft>
          <a:spcPct val="0"/>
        </a:spcAft>
        <a:defRPr sz="3200">
          <a:solidFill>
            <a:schemeClr val="bg2"/>
          </a:solidFill>
          <a:latin typeface="DIN-Medium" pitchFamily="-128" charset="0"/>
          <a:ea typeface="ＭＳ Ｐゴシック" pitchFamily="-128" charset="-128"/>
          <a:cs typeface="ＭＳ Ｐゴシック" pitchFamily="84" charset="-128"/>
        </a:defRPr>
      </a:lvl4pPr>
      <a:lvl5pPr algn="l" rtl="0" fontAlgn="base">
        <a:spcBef>
          <a:spcPct val="0"/>
        </a:spcBef>
        <a:spcAft>
          <a:spcPct val="0"/>
        </a:spcAft>
        <a:defRPr sz="3200">
          <a:solidFill>
            <a:schemeClr val="bg2"/>
          </a:solidFill>
          <a:latin typeface="DIN-Medium" pitchFamily="-128" charset="0"/>
          <a:ea typeface="ＭＳ Ｐゴシック" pitchFamily="-128" charset="-128"/>
          <a:cs typeface="ＭＳ Ｐゴシック" pitchFamily="8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2"/>
          </a:solidFill>
          <a:latin typeface="DIN-Medium" pitchFamily="-128" charset="0"/>
          <a:ea typeface="ＭＳ Ｐゴシック" pitchFamily="-12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2"/>
          </a:solidFill>
          <a:latin typeface="DIN-Medium" pitchFamily="-128" charset="0"/>
          <a:ea typeface="ＭＳ Ｐゴシック" pitchFamily="-12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2"/>
          </a:solidFill>
          <a:latin typeface="DIN-Medium" pitchFamily="-128" charset="0"/>
          <a:ea typeface="ＭＳ Ｐゴシック" pitchFamily="-12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2"/>
          </a:solidFill>
          <a:latin typeface="DIN-Medium" pitchFamily="-128" charset="0"/>
          <a:ea typeface="ＭＳ Ｐゴシック" pitchFamily="-128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>
          <a:solidFill>
            <a:srgbClr val="292113"/>
          </a:solidFill>
          <a:latin typeface="+mn-lt"/>
          <a:ea typeface="+mn-ea"/>
          <a:cs typeface="ＭＳ Ｐゴシック" pitchFamily="84" charset="-128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14.xml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/>
              <a:t>Assessing </a:t>
            </a:r>
            <a:r>
              <a:rPr lang="en-US" dirty="0" smtClean="0"/>
              <a:t>quality:</a:t>
            </a:r>
            <a:br>
              <a:rPr lang="en-US" dirty="0" smtClean="0"/>
            </a:br>
            <a:r>
              <a:rPr lang="en-US" dirty="0" smtClean="0"/>
              <a:t>Learner </a:t>
            </a:r>
            <a:r>
              <a:rPr lang="en-US" dirty="0"/>
              <a:t>analytics, or human intuition?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Bror</a:t>
            </a:r>
            <a:r>
              <a:rPr lang="en-US" dirty="0"/>
              <a:t> </a:t>
            </a:r>
            <a:r>
              <a:rPr lang="en-US" dirty="0" err="1"/>
              <a:t>Saxberg</a:t>
            </a:r>
            <a:endParaRPr lang="en-US" dirty="0"/>
          </a:p>
          <a:p>
            <a:r>
              <a:rPr lang="en-US" dirty="0"/>
              <a:t>CLO, Kaplan, Inc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57200" y="6381690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Cite as: </a:t>
            </a:r>
            <a:r>
              <a:rPr lang="en-US" sz="1000" dirty="0" err="1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Saxberg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,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B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.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(2012, January). </a:t>
            </a:r>
            <a:r>
              <a:rPr lang="en-US" sz="1000" i="1" dirty="0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Assessing quality: Learner analytics, or human intuition?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.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</a:rPr>
              <a:t>Presentation at Conversations on quality: a symposium on k-12 online learning, Cambridge, MA.</a:t>
            </a:r>
          </a:p>
        </p:txBody>
      </p:sp>
      <p:sp>
        <p:nvSpPr>
          <p:cNvPr id="7" name="Rectangle 6"/>
          <p:cNvSpPr/>
          <p:nvPr/>
        </p:nvSpPr>
        <p:spPr>
          <a:xfrm>
            <a:off x="1066800" y="5943600"/>
            <a:ext cx="7239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  <a:sym typeface="Calibri" charset="0"/>
              </a:rPr>
              <a:t>Unless otherwise specified, this work is licensed under a Creative Commons Attribution 3.0 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  <a:sym typeface="Calibri" charset="0"/>
              </a:rPr>
              <a:t>United States License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DIN-Medium"/>
                <a:cs typeface="DIN-Medium"/>
                <a:sym typeface="Calibri" charset="0"/>
              </a:rPr>
              <a:t>.</a:t>
            </a:r>
          </a:p>
        </p:txBody>
      </p:sp>
      <p:pic>
        <p:nvPicPr>
          <p:cNvPr id="8" name="Picture 7" descr="88x3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5638800"/>
            <a:ext cx="90129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413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484784"/>
            <a:ext cx="8153400" cy="762000"/>
          </a:xfrm>
        </p:spPr>
        <p:txBody>
          <a:bodyPr/>
          <a:lstStyle/>
          <a:p>
            <a:r>
              <a:rPr lang="en-US" dirty="0" smtClean="0"/>
              <a:t>Refine the problem</a:t>
            </a:r>
            <a:endParaRPr lang="en-US" dirty="0"/>
          </a:p>
        </p:txBody>
      </p:sp>
      <p:sp>
        <p:nvSpPr>
          <p:cNvPr id="4" name="Rounded Rectangle 24"/>
          <p:cNvSpPr>
            <a:spLocks noChangeArrowheads="1"/>
          </p:cNvSpPr>
          <p:nvPr/>
        </p:nvSpPr>
        <p:spPr bwMode="auto">
          <a:xfrm>
            <a:off x="4283968" y="2408485"/>
            <a:ext cx="18288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1E2172"/>
                </a:solidFill>
                <a:ea typeface="MS PGothic" pitchFamily="34" charset="-128"/>
              </a:rPr>
              <a:t>Learning Events </a:t>
            </a:r>
          </a:p>
          <a:p>
            <a:pPr algn="ctr"/>
            <a:r>
              <a:rPr lang="en-US" sz="1100" b="1">
                <a:solidFill>
                  <a:srgbClr val="1E2172"/>
                </a:solidFill>
                <a:ea typeface="MS PGothic" pitchFamily="34" charset="-128"/>
              </a:rPr>
              <a:t>(hidden - inside students’ minds)</a:t>
            </a:r>
          </a:p>
        </p:txBody>
      </p:sp>
      <p:sp>
        <p:nvSpPr>
          <p:cNvPr id="5" name="Rounded Rectangle 26"/>
          <p:cNvSpPr>
            <a:spLocks noChangeArrowheads="1"/>
          </p:cNvSpPr>
          <p:nvPr/>
        </p:nvSpPr>
        <p:spPr bwMode="auto">
          <a:xfrm>
            <a:off x="6551240" y="2420888"/>
            <a:ext cx="19812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 algn="ctr">
            <a:solidFill>
              <a:schemeClr val="accent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1E2172"/>
                </a:solidFill>
              </a:rPr>
              <a:t>Student</a:t>
            </a:r>
          </a:p>
          <a:p>
            <a:pPr algn="ctr"/>
            <a:r>
              <a:rPr lang="en-US" sz="1400" b="1">
                <a:solidFill>
                  <a:srgbClr val="1E2172"/>
                </a:solidFill>
              </a:rPr>
              <a:t>Performance</a:t>
            </a:r>
            <a:br>
              <a:rPr lang="en-US" sz="1400" b="1">
                <a:solidFill>
                  <a:srgbClr val="1E2172"/>
                </a:solidFill>
              </a:rPr>
            </a:br>
            <a:r>
              <a:rPr lang="en-US" sz="1100" b="1">
                <a:solidFill>
                  <a:srgbClr val="1E2172"/>
                </a:solidFill>
              </a:rPr>
              <a:t>(observable -indicates knowledge)</a:t>
            </a:r>
          </a:p>
        </p:txBody>
      </p:sp>
      <p:sp>
        <p:nvSpPr>
          <p:cNvPr id="6" name="Rounded Rectangle 24"/>
          <p:cNvSpPr>
            <a:spLocks noChangeArrowheads="1"/>
          </p:cNvSpPr>
          <p:nvPr/>
        </p:nvSpPr>
        <p:spPr bwMode="auto">
          <a:xfrm>
            <a:off x="2023120" y="2420888"/>
            <a:ext cx="18288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tIns="0" anchor="ctr"/>
          <a:lstStyle/>
          <a:p>
            <a:pPr algn="ctr"/>
            <a:r>
              <a:rPr lang="en-US" sz="1400" b="1" dirty="0">
                <a:solidFill>
                  <a:srgbClr val="1E2172"/>
                </a:solidFill>
                <a:ea typeface="MS PGothic" pitchFamily="34" charset="-128"/>
              </a:rPr>
              <a:t>Instructional Events</a:t>
            </a:r>
          </a:p>
          <a:p>
            <a:pPr algn="ctr"/>
            <a:r>
              <a:rPr lang="en-US" sz="1100" b="1" dirty="0">
                <a:solidFill>
                  <a:srgbClr val="1E2172"/>
                </a:solidFill>
                <a:ea typeface="MS PGothic" pitchFamily="34" charset="-128"/>
              </a:rPr>
              <a:t>(in the learning environment</a:t>
            </a:r>
            <a:r>
              <a:rPr lang="en-US" sz="1100" b="1" dirty="0" smtClean="0">
                <a:solidFill>
                  <a:srgbClr val="1E2172"/>
                </a:solidFill>
                <a:ea typeface="MS PGothic" pitchFamily="34" charset="-128"/>
              </a:rPr>
              <a:t>)	</a:t>
            </a:r>
            <a:endParaRPr lang="en-US" sz="1100" b="1" dirty="0">
              <a:solidFill>
                <a:srgbClr val="1E2172"/>
              </a:solidFill>
              <a:ea typeface="MS PGothic" pitchFamily="34" charset="-128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6135216" y="2852936"/>
            <a:ext cx="3810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3902968" y="2852936"/>
            <a:ext cx="3810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graphicFrame>
        <p:nvGraphicFramePr>
          <p:cNvPr id="9" name="Group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7001672"/>
              </p:ext>
            </p:extLst>
          </p:nvPr>
        </p:nvGraphicFramePr>
        <p:xfrm>
          <a:off x="251520" y="3501008"/>
          <a:ext cx="8485239" cy="2832365"/>
        </p:xfrm>
        <a:graphic>
          <a:graphicData uri="http://schemas.openxmlformats.org/drawingml/2006/table">
            <a:tbl>
              <a:tblPr/>
              <a:tblGrid>
                <a:gridCol w="1597743"/>
                <a:gridCol w="2117717"/>
                <a:gridCol w="2424786"/>
                <a:gridCol w="2344993"/>
              </a:tblGrid>
              <a:tr h="106452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Knowledg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32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otivation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691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etacognition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32950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484784"/>
            <a:ext cx="8153400" cy="762000"/>
          </a:xfrm>
        </p:spPr>
        <p:txBody>
          <a:bodyPr/>
          <a:lstStyle/>
          <a:p>
            <a:r>
              <a:rPr lang="en-US" dirty="0" smtClean="0"/>
              <a:t>Refine the problem– add science</a:t>
            </a:r>
            <a:endParaRPr lang="en-US" dirty="0"/>
          </a:p>
        </p:txBody>
      </p:sp>
      <p:sp>
        <p:nvSpPr>
          <p:cNvPr id="4" name="Rounded Rectangle 24"/>
          <p:cNvSpPr>
            <a:spLocks noChangeArrowheads="1"/>
          </p:cNvSpPr>
          <p:nvPr/>
        </p:nvSpPr>
        <p:spPr bwMode="auto">
          <a:xfrm>
            <a:off x="4283968" y="2408485"/>
            <a:ext cx="18288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1E2172"/>
                </a:solidFill>
                <a:ea typeface="MS PGothic" pitchFamily="34" charset="-128"/>
              </a:rPr>
              <a:t>Learning Events </a:t>
            </a:r>
          </a:p>
          <a:p>
            <a:pPr algn="ctr"/>
            <a:r>
              <a:rPr lang="en-US" sz="1100" b="1">
                <a:solidFill>
                  <a:srgbClr val="1E2172"/>
                </a:solidFill>
                <a:ea typeface="MS PGothic" pitchFamily="34" charset="-128"/>
              </a:rPr>
              <a:t>(hidden - inside students’ minds)</a:t>
            </a:r>
          </a:p>
        </p:txBody>
      </p:sp>
      <p:sp>
        <p:nvSpPr>
          <p:cNvPr id="5" name="Rounded Rectangle 26"/>
          <p:cNvSpPr>
            <a:spLocks noChangeArrowheads="1"/>
          </p:cNvSpPr>
          <p:nvPr/>
        </p:nvSpPr>
        <p:spPr bwMode="auto">
          <a:xfrm>
            <a:off x="6551240" y="2420888"/>
            <a:ext cx="19812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 algn="ctr">
            <a:solidFill>
              <a:schemeClr val="accent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1E2172"/>
                </a:solidFill>
              </a:rPr>
              <a:t>Student</a:t>
            </a:r>
          </a:p>
          <a:p>
            <a:pPr algn="ctr"/>
            <a:r>
              <a:rPr lang="en-US" sz="1400" b="1">
                <a:solidFill>
                  <a:srgbClr val="1E2172"/>
                </a:solidFill>
              </a:rPr>
              <a:t>Performance</a:t>
            </a:r>
            <a:br>
              <a:rPr lang="en-US" sz="1400" b="1">
                <a:solidFill>
                  <a:srgbClr val="1E2172"/>
                </a:solidFill>
              </a:rPr>
            </a:br>
            <a:r>
              <a:rPr lang="en-US" sz="1100" b="1">
                <a:solidFill>
                  <a:srgbClr val="1E2172"/>
                </a:solidFill>
              </a:rPr>
              <a:t>(observable -indicates knowledge)</a:t>
            </a:r>
          </a:p>
        </p:txBody>
      </p:sp>
      <p:sp>
        <p:nvSpPr>
          <p:cNvPr id="6" name="Rounded Rectangle 24"/>
          <p:cNvSpPr>
            <a:spLocks noChangeArrowheads="1"/>
          </p:cNvSpPr>
          <p:nvPr/>
        </p:nvSpPr>
        <p:spPr bwMode="auto">
          <a:xfrm>
            <a:off x="2023120" y="2420888"/>
            <a:ext cx="18288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tIns="0" anchor="ctr"/>
          <a:lstStyle/>
          <a:p>
            <a:pPr algn="ctr"/>
            <a:r>
              <a:rPr lang="en-US" sz="1400" b="1" dirty="0">
                <a:solidFill>
                  <a:srgbClr val="1E2172"/>
                </a:solidFill>
                <a:ea typeface="MS PGothic" pitchFamily="34" charset="-128"/>
              </a:rPr>
              <a:t>Instructional Events</a:t>
            </a:r>
          </a:p>
          <a:p>
            <a:pPr algn="ctr"/>
            <a:r>
              <a:rPr lang="en-US" sz="1100" b="1" dirty="0">
                <a:solidFill>
                  <a:srgbClr val="1E2172"/>
                </a:solidFill>
                <a:ea typeface="MS PGothic" pitchFamily="34" charset="-128"/>
              </a:rPr>
              <a:t>(in the learning environment</a:t>
            </a:r>
            <a:r>
              <a:rPr lang="en-US" sz="1100" b="1" dirty="0" smtClean="0">
                <a:solidFill>
                  <a:srgbClr val="1E2172"/>
                </a:solidFill>
                <a:ea typeface="MS PGothic" pitchFamily="34" charset="-128"/>
              </a:rPr>
              <a:t>)	</a:t>
            </a:r>
            <a:endParaRPr lang="en-US" sz="1100" b="1" dirty="0">
              <a:solidFill>
                <a:srgbClr val="1E2172"/>
              </a:solidFill>
              <a:ea typeface="MS PGothic" pitchFamily="34" charset="-128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6135216" y="2852936"/>
            <a:ext cx="3810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3902968" y="2852936"/>
            <a:ext cx="3810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graphicFrame>
        <p:nvGraphicFramePr>
          <p:cNvPr id="9" name="Group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993945"/>
              </p:ext>
            </p:extLst>
          </p:nvPr>
        </p:nvGraphicFramePr>
        <p:xfrm>
          <a:off x="251520" y="3501008"/>
          <a:ext cx="8485239" cy="2832365"/>
        </p:xfrm>
        <a:graphic>
          <a:graphicData uri="http://schemas.openxmlformats.org/drawingml/2006/table">
            <a:tbl>
              <a:tblPr/>
              <a:tblGrid>
                <a:gridCol w="1597743"/>
                <a:gridCol w="2117717"/>
                <a:gridCol w="2424786"/>
                <a:gridCol w="2344993"/>
              </a:tblGrid>
              <a:tr h="106452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Knowledg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Explicit: Information, Explanation, Examples, Demos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Implicit: Practice tasks/activities (prompts and response)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Diagnosis and feedbac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Explicit/Declarative/Conceptual/What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Implicit/Procedural/How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Knowledge Components  (Procedures + Facts, Concepts, Principles, Processes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Response accuracy/errors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Response fluency/speed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Number of trials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Amount of assistance (hints)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Reason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32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otivation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Orientation/Inoculation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onitoring 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Diagnosis and treatment: Persuasion, Modeling, Disson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Value beliefs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Self-efficacy beliefs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Attribution beliefs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ood/Emo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Behavior related to</a:t>
                      </a:r>
                    </a:p>
                    <a:p>
                      <a:pPr marL="571500" marR="0" lvl="1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Starting </a:t>
                      </a:r>
                    </a:p>
                    <a:p>
                      <a:pPr marL="571500" marR="0" lvl="1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Persisting</a:t>
                      </a:r>
                    </a:p>
                    <a:p>
                      <a:pPr marL="571500" marR="0" lvl="1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ental Effort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Self-reported belief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691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Metacognition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Structure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Guidance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Planning, Monitoring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Selecting, Conne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E2172"/>
                          </a:solidFill>
                          <a:effectLst/>
                          <a:latin typeface="Arial" charset="0"/>
                        </a:rPr>
                        <a:t>Amount of guidance required/requested</a:t>
                      </a:r>
                    </a:p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E217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395536" y="6413296"/>
            <a:ext cx="61206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r>
              <a:rPr lang="en-US" sz="1000" i="1" dirty="0" smtClean="0">
                <a:latin typeface="Calibri" charset="0"/>
                <a:ea typeface="Calibri" charset="0"/>
                <a:cs typeface="Times New Roman" charset="0"/>
              </a:rPr>
              <a:t>See: </a:t>
            </a:r>
            <a:r>
              <a:rPr lang="en-US" sz="1000" i="1" dirty="0" err="1" smtClean="0">
                <a:latin typeface="Calibri" charset="0"/>
                <a:ea typeface="Calibri" charset="0"/>
                <a:cs typeface="Times New Roman" charset="0"/>
              </a:rPr>
              <a:t>Koedinger</a:t>
            </a:r>
            <a:r>
              <a:rPr lang="en-US" sz="1000" i="1" dirty="0">
                <a:latin typeface="Calibri" charset="0"/>
                <a:ea typeface="Calibri" charset="0"/>
                <a:cs typeface="Times New Roman" charset="0"/>
              </a:rPr>
              <a:t>, K.R., Corbett, A.T., and </a:t>
            </a:r>
            <a:r>
              <a:rPr lang="en-US" sz="1000" i="1" dirty="0" err="1">
                <a:latin typeface="Calibri" charset="0"/>
                <a:ea typeface="Calibri" charset="0"/>
                <a:cs typeface="Times New Roman" charset="0"/>
              </a:rPr>
              <a:t>Perfetti</a:t>
            </a:r>
            <a:r>
              <a:rPr lang="en-US" sz="1000" i="1" dirty="0">
                <a:latin typeface="Calibri" charset="0"/>
                <a:ea typeface="Calibri" charset="0"/>
                <a:cs typeface="Times New Roman" charset="0"/>
              </a:rPr>
              <a:t>, C. (2010). The Knowledge-Learning-Instruction (KLI) Framework: Toward Bridging the Science-Practice Chasm to Enhance Robust Student </a:t>
            </a:r>
            <a:r>
              <a:rPr lang="en-US" sz="1000" i="1" dirty="0" smtClean="0">
                <a:latin typeface="Calibri" charset="0"/>
                <a:ea typeface="Calibri" charset="0"/>
                <a:cs typeface="Times New Roman" charset="0"/>
              </a:rPr>
              <a:t>Learning</a:t>
            </a:r>
            <a:endParaRPr lang="en-US" sz="1800" i="1" dirty="0">
              <a:ea typeface="Calibri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4125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536" y="1700808"/>
            <a:ext cx="8153400" cy="762000"/>
          </a:xfrm>
        </p:spPr>
        <p:txBody>
          <a:bodyPr/>
          <a:lstStyle/>
          <a:p>
            <a:r>
              <a:rPr lang="en-US" dirty="0" smtClean="0"/>
              <a:t>Clarify (and use) actual constrai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990600" y="2276872"/>
            <a:ext cx="7772400" cy="3200400"/>
          </a:xfrm>
        </p:spPr>
        <p:txBody>
          <a:bodyPr/>
          <a:lstStyle/>
          <a:p>
            <a:r>
              <a:rPr lang="en-US" dirty="0" smtClean="0"/>
              <a:t>Topic constraints – what comes before what?</a:t>
            </a:r>
          </a:p>
          <a:p>
            <a:r>
              <a:rPr lang="en-US" dirty="0" smtClean="0"/>
              <a:t>Physical environment – multiple locations?</a:t>
            </a:r>
          </a:p>
          <a:p>
            <a:r>
              <a:rPr lang="en-US" dirty="0" smtClean="0"/>
              <a:t>Time available – multiple blocks?</a:t>
            </a:r>
          </a:p>
          <a:p>
            <a:r>
              <a:rPr lang="en-US" dirty="0" smtClean="0"/>
              <a:t>Media available – multiple types/devices?</a:t>
            </a:r>
          </a:p>
          <a:p>
            <a:r>
              <a:rPr lang="en-US" dirty="0" smtClean="0"/>
              <a:t>Learner skills to draw on</a:t>
            </a:r>
          </a:p>
          <a:p>
            <a:r>
              <a:rPr lang="en-US" dirty="0" smtClean="0"/>
              <a:t>People resources to draw on – multiple? </a:t>
            </a:r>
          </a:p>
          <a:p>
            <a:r>
              <a:rPr lang="en-US" dirty="0" smtClean="0"/>
              <a:t>Costs – capital vs. variable tradeoff?</a:t>
            </a:r>
          </a:p>
          <a:p>
            <a:r>
              <a:rPr lang="en-US" dirty="0" smtClean="0"/>
              <a:t>Real world: What happens when you TRY it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0654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</a:t>
            </a:r>
            <a:endParaRPr lang="en-US" dirty="0"/>
          </a:p>
        </p:txBody>
      </p:sp>
      <p:sp>
        <p:nvSpPr>
          <p:cNvPr id="1126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7A7A7A"/>
                </a:solidFill>
              </a:rPr>
              <a:t>Thought starter questions</a:t>
            </a:r>
          </a:p>
          <a:p>
            <a:r>
              <a:rPr lang="en-US" dirty="0">
                <a:solidFill>
                  <a:srgbClr val="7A7A7A"/>
                </a:solidFill>
              </a:rPr>
              <a:t>A</a:t>
            </a:r>
            <a:r>
              <a:rPr lang="en-US" dirty="0" smtClean="0">
                <a:solidFill>
                  <a:srgbClr val="7A7A7A"/>
                </a:solidFill>
              </a:rPr>
              <a:t>ssessing quality</a:t>
            </a:r>
          </a:p>
          <a:p>
            <a:r>
              <a:rPr lang="en-US" dirty="0">
                <a:solidFill>
                  <a:srgbClr val="7A7A7A"/>
                </a:solidFill>
              </a:rPr>
              <a:t>Q</a:t>
            </a:r>
            <a:r>
              <a:rPr lang="en-US" dirty="0" smtClean="0">
                <a:solidFill>
                  <a:srgbClr val="7A7A7A"/>
                </a:solidFill>
              </a:rPr>
              <a:t>uality </a:t>
            </a:r>
            <a:r>
              <a:rPr lang="en-US" dirty="0">
                <a:solidFill>
                  <a:srgbClr val="7A7A7A"/>
                </a:solidFill>
              </a:rPr>
              <a:t>solutions for educa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vidence possibilitie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97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340768"/>
            <a:ext cx="8153400" cy="762000"/>
          </a:xfrm>
        </p:spPr>
        <p:txBody>
          <a:bodyPr/>
          <a:lstStyle/>
          <a:p>
            <a:r>
              <a:rPr lang="en-US" dirty="0" smtClean="0"/>
              <a:t>Checklist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724400" y="2411591"/>
            <a:ext cx="4038600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accent6"/>
                </a:solidFill>
              </a:rPr>
              <a:t>Is the course/lesson designed for effective knowledge acquisition and transfer?</a:t>
            </a:r>
          </a:p>
          <a:p>
            <a:pPr marL="231775" indent="-231775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</a:rPr>
              <a:t>Learning outcomes/objectives</a:t>
            </a:r>
          </a:p>
          <a:p>
            <a:pPr marL="231775" indent="-231775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</a:rPr>
              <a:t>Assessments</a:t>
            </a:r>
          </a:p>
          <a:p>
            <a:pPr marL="231775" indent="-231775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</a:rPr>
              <a:t>Practice</a:t>
            </a:r>
          </a:p>
          <a:p>
            <a:pPr marL="231775" indent="-231775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</a:rPr>
              <a:t>Presentation: Examples</a:t>
            </a:r>
          </a:p>
          <a:p>
            <a:pPr marL="231775" indent="-231775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</a:rPr>
              <a:t>Presentation: Information</a:t>
            </a:r>
          </a:p>
          <a:p>
            <a:pPr marL="231775" indent="-231775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</a:rPr>
              <a:t>Content chunking and sequencing</a:t>
            </a:r>
          </a:p>
          <a:p>
            <a:endParaRPr lang="en-US" sz="1400" dirty="0" smtClean="0">
              <a:solidFill>
                <a:schemeClr val="accent6"/>
              </a:solidFill>
            </a:endParaRPr>
          </a:p>
          <a:p>
            <a:r>
              <a:rPr lang="en-US" sz="1400" b="1" dirty="0" smtClean="0">
                <a:solidFill>
                  <a:schemeClr val="accent6"/>
                </a:solidFill>
              </a:rPr>
              <a:t>Does the course provide support for motivation?</a:t>
            </a:r>
          </a:p>
          <a:p>
            <a:endParaRPr lang="en-US" sz="1400" dirty="0" smtClean="0">
              <a:solidFill>
                <a:schemeClr val="accent6"/>
              </a:solidFill>
            </a:endParaRPr>
          </a:p>
          <a:p>
            <a:r>
              <a:rPr lang="en-US" sz="1400" b="1" dirty="0" smtClean="0">
                <a:solidFill>
                  <a:schemeClr val="accent6"/>
                </a:solidFill>
              </a:rPr>
              <a:t>Does the course provide opportunities for knowledge integration?</a:t>
            </a:r>
          </a:p>
          <a:p>
            <a:endParaRPr lang="en-US" sz="1400" dirty="0" smtClean="0">
              <a:solidFill>
                <a:schemeClr val="accent6"/>
              </a:solidFill>
            </a:endParaRPr>
          </a:p>
          <a:p>
            <a:r>
              <a:rPr lang="en-US" sz="1400" b="1" dirty="0" smtClean="0">
                <a:solidFill>
                  <a:schemeClr val="accent6"/>
                </a:solidFill>
              </a:rPr>
              <a:t>Are media used appropriately and efficiently?</a:t>
            </a:r>
          </a:p>
          <a:p>
            <a:endParaRPr lang="en-US" sz="1400" dirty="0" smtClean="0">
              <a:solidFill>
                <a:schemeClr val="accent6"/>
              </a:solidFill>
            </a:endParaRPr>
          </a:p>
          <a:p>
            <a:r>
              <a:rPr lang="en-US" sz="1400" b="1" dirty="0" smtClean="0">
                <a:solidFill>
                  <a:schemeClr val="accent6"/>
                </a:solidFill>
              </a:rPr>
              <a:t>Does instruction adapt to student's level of knowledge and motivation?</a:t>
            </a:r>
            <a:endParaRPr lang="en-US" sz="1400" b="1" dirty="0">
              <a:solidFill>
                <a:schemeClr val="accent6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 l="20000" t="19000" r="20625" b="8000"/>
          <a:stretch>
            <a:fillRect/>
          </a:stretch>
        </p:blipFill>
        <p:spPr bwMode="auto">
          <a:xfrm>
            <a:off x="1219200" y="3342409"/>
            <a:ext cx="3244241" cy="24929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l="20000" t="19000" r="21250" b="8000"/>
          <a:stretch>
            <a:fillRect/>
          </a:stretch>
        </p:blipFill>
        <p:spPr bwMode="auto">
          <a:xfrm>
            <a:off x="457200" y="2752110"/>
            <a:ext cx="3210091" cy="24929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457200" y="2011481"/>
            <a:ext cx="4038600" cy="40011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Our “Kaplan Way” checklis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00600" y="2011481"/>
            <a:ext cx="3886200" cy="40011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Categories on the checklist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9120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658888"/>
            <a:ext cx="8153400" cy="762000"/>
          </a:xfrm>
        </p:spPr>
        <p:txBody>
          <a:bodyPr/>
          <a:lstStyle/>
          <a:p>
            <a:r>
              <a:rPr lang="en-US" dirty="0" smtClean="0"/>
              <a:t>Monitor actual vs. designed delive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2399184"/>
            <a:ext cx="7772400" cy="3200400"/>
          </a:xfrm>
        </p:spPr>
        <p:txBody>
          <a:bodyPr/>
          <a:lstStyle/>
          <a:p>
            <a:r>
              <a:rPr lang="en-US" sz="2000" dirty="0" smtClean="0"/>
              <a:t>Usability testing </a:t>
            </a:r>
          </a:p>
          <a:p>
            <a:r>
              <a:rPr lang="en-US" sz="2000" dirty="0" smtClean="0"/>
              <a:t>Systematic behavioral observation</a:t>
            </a:r>
          </a:p>
          <a:p>
            <a:r>
              <a:rPr lang="en-US" sz="2000" dirty="0" smtClean="0"/>
              <a:t>Video/audio with behavioral coding</a:t>
            </a:r>
          </a:p>
          <a:p>
            <a:r>
              <a:rPr lang="en-US" sz="2000" dirty="0" smtClean="0"/>
              <a:t>Engagement data – timeliness, effort, pattern of use</a:t>
            </a:r>
          </a:p>
          <a:p>
            <a:r>
              <a:rPr lang="en-US" sz="2000" dirty="0" smtClean="0"/>
              <a:t>[Highly structured learner surveys]</a:t>
            </a:r>
          </a:p>
          <a:p>
            <a:r>
              <a:rPr lang="en-US" sz="2000" strike="sngStrike" dirty="0" smtClean="0"/>
              <a:t>Learner “liking” surveys</a:t>
            </a:r>
          </a:p>
          <a:p>
            <a:r>
              <a:rPr lang="en-US" sz="2000" strike="sngStrike" dirty="0" smtClean="0"/>
              <a:t>High level, more general observation rubrics</a:t>
            </a:r>
          </a:p>
          <a:p>
            <a:r>
              <a:rPr lang="en-US" sz="2000" strike="sngStrike" dirty="0" smtClean="0"/>
              <a:t>Teacher surveys</a:t>
            </a:r>
          </a:p>
          <a:p>
            <a:r>
              <a:rPr lang="en-US" sz="2000" strike="sngStrike" dirty="0" smtClean="0"/>
              <a:t>Teacher journals</a:t>
            </a:r>
          </a:p>
          <a:p>
            <a:r>
              <a:rPr lang="en-US" sz="2000" strike="sngStrike" dirty="0" smtClean="0"/>
              <a:t>Teacher self-report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2468443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84784"/>
            <a:ext cx="8153400" cy="762000"/>
          </a:xfrm>
        </p:spPr>
        <p:txBody>
          <a:bodyPr/>
          <a:lstStyle/>
          <a:p>
            <a:r>
              <a:rPr lang="en-US" dirty="0" smtClean="0"/>
              <a:t>Learning evidence</a:t>
            </a:r>
            <a:endParaRPr lang="en-US" dirty="0"/>
          </a:p>
        </p:txBody>
      </p:sp>
      <p:pic>
        <p:nvPicPr>
          <p:cNvPr id="3" name="Picture 7" descr="Plot of success least-squares means for grp. With 95% confidence limits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079576"/>
            <a:ext cx="5227638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7"/>
          <p:cNvSpPr>
            <a:spLocks noChangeArrowheads="1"/>
          </p:cNvSpPr>
          <p:nvPr/>
        </p:nvSpPr>
        <p:spPr bwMode="auto">
          <a:xfrm>
            <a:off x="179512" y="2225501"/>
            <a:ext cx="87423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 b="0" dirty="0"/>
              <a:t>“</a:t>
            </a:r>
            <a:r>
              <a:rPr lang="en-US" altLang="ja-JP" sz="1800" b="0" dirty="0"/>
              <a:t>Success</a:t>
            </a:r>
            <a:r>
              <a:rPr lang="en-US" sz="1800" b="0" dirty="0"/>
              <a:t>”</a:t>
            </a:r>
            <a:r>
              <a:rPr lang="en-US" altLang="ja-JP" sz="1800" b="0" dirty="0"/>
              <a:t> = CLA </a:t>
            </a:r>
            <a:r>
              <a:rPr lang="en-US" altLang="ja-JP" sz="1800" b="0" dirty="0" smtClean="0"/>
              <a:t>Average </a:t>
            </a:r>
            <a:r>
              <a:rPr lang="en-US" altLang="ja-JP" sz="1800" b="0" dirty="0"/>
              <a:t>&gt;=4 AND passed course AND retained to next term </a:t>
            </a:r>
            <a:endParaRPr lang="en-US" sz="1800" b="0" dirty="0"/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525587" y="2549351"/>
            <a:ext cx="80819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 b="0" i="1" dirty="0"/>
              <a:t>Controlling</a:t>
            </a:r>
            <a:r>
              <a:rPr lang="en-US" sz="1800" b="0" dirty="0"/>
              <a:t> for differences in course, students, instructors and seasonality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88320"/>
              </p:ext>
            </p:extLst>
          </p:nvPr>
        </p:nvGraphicFramePr>
        <p:xfrm>
          <a:off x="5611937" y="4730576"/>
          <a:ext cx="3200398" cy="1524000"/>
        </p:xfrm>
        <a:graphic>
          <a:graphicData uri="http://schemas.openxmlformats.org/drawingml/2006/table">
            <a:tbl>
              <a:tblPr/>
              <a:tblGrid>
                <a:gridCol w="656492"/>
                <a:gridCol w="656492"/>
                <a:gridCol w="656492"/>
                <a:gridCol w="656492"/>
                <a:gridCol w="574430"/>
              </a:tblGrid>
              <a:tr h="190500"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east Squares Means for effect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 &gt; |t| for H0: LSMean(i)=LSMean(j)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pendent Variable: success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/j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8912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8000"/>
                          </a:solidFill>
                          <a:effectLst/>
                          <a:latin typeface="Arial"/>
                        </a:rPr>
                        <a:t>&lt;.0001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6515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8912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8000"/>
                          </a:solidFill>
                          <a:effectLst/>
                          <a:latin typeface="Arial"/>
                        </a:rPr>
                        <a:t>0.0002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8104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8000"/>
                          </a:solidFill>
                          <a:effectLst/>
                          <a:latin typeface="Arial"/>
                        </a:rPr>
                        <a:t>&lt;.0001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8000"/>
                          </a:solidFill>
                          <a:effectLst/>
                          <a:latin typeface="Arial"/>
                        </a:rPr>
                        <a:t>0.0002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0" i="0" u="none" strike="noStrike" dirty="0">
                        <a:solidFill>
                          <a:srgbClr val="008000"/>
                        </a:solidFill>
                        <a:effectLst/>
                        <a:latin typeface="Arial"/>
                      </a:endParaRP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256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6515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8104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8000"/>
                          </a:solidFill>
                          <a:effectLst/>
                          <a:latin typeface="Arial"/>
                        </a:rPr>
                        <a:t>0.0256</a:t>
                      </a: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001" marR="10001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TextBox 18"/>
          <p:cNvSpPr txBox="1">
            <a:spLocks noChangeArrowheads="1"/>
          </p:cNvSpPr>
          <p:nvPr/>
        </p:nvSpPr>
        <p:spPr bwMode="auto">
          <a:xfrm>
            <a:off x="5692900" y="4360689"/>
            <a:ext cx="29591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/>
              <a:t>Statistical Significanc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827584" y="6465143"/>
            <a:ext cx="2238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dirty="0"/>
              <a:t>1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2230934" y="6465143"/>
            <a:ext cx="2238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/>
              <a:t>2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635896" y="6465143"/>
            <a:ext cx="2238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dirty="0"/>
              <a:t>3</a:t>
            </a: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4978897" y="6465143"/>
            <a:ext cx="2238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458068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7" grpId="0"/>
      <p:bldP spid="8" grpId="0"/>
      <p:bldP spid="9" grpId="0"/>
      <p:bldP spid="10" grpId="0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700808"/>
            <a:ext cx="8153400" cy="762000"/>
          </a:xfrm>
        </p:spPr>
        <p:txBody>
          <a:bodyPr/>
          <a:lstStyle/>
          <a:p>
            <a:r>
              <a:rPr lang="en-US" dirty="0" smtClean="0"/>
              <a:t>Longer term success evalu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1600" y="2615208"/>
            <a:ext cx="7772400" cy="1029816"/>
          </a:xfrm>
        </p:spPr>
        <p:txBody>
          <a:bodyPr/>
          <a:lstStyle/>
          <a:p>
            <a:r>
              <a:rPr lang="en-US" dirty="0"/>
              <a:t>F</a:t>
            </a:r>
            <a:r>
              <a:rPr lang="en-US" dirty="0" smtClean="0"/>
              <a:t>uture course pass rates</a:t>
            </a:r>
          </a:p>
          <a:p>
            <a:r>
              <a:rPr lang="en-US" dirty="0"/>
              <a:t>R</a:t>
            </a:r>
            <a:r>
              <a:rPr lang="en-US" dirty="0" smtClean="0"/>
              <a:t>etention improvement </a:t>
            </a:r>
          </a:p>
          <a:p>
            <a:r>
              <a:rPr lang="en-US" dirty="0" smtClean="0"/>
              <a:t>Employment </a:t>
            </a:r>
            <a:r>
              <a:rPr lang="en-US" dirty="0"/>
              <a:t>– and employer satisfaction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71600" y="3623320"/>
            <a:ext cx="7772400" cy="1029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292113"/>
                </a:solidFill>
                <a:latin typeface="+mn-lt"/>
                <a:ea typeface="+mn-ea"/>
                <a:cs typeface="ＭＳ Ｐゴシック" pitchFamily="84" charset="-128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6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dirty="0"/>
          </a:p>
          <a:p>
            <a:r>
              <a:rPr lang="en-US" dirty="0"/>
              <a:t>“Productive citizen of a free society” </a:t>
            </a:r>
          </a:p>
          <a:p>
            <a:pPr lvl="1"/>
            <a:r>
              <a:rPr lang="en-US" dirty="0"/>
              <a:t>Voting? </a:t>
            </a:r>
          </a:p>
          <a:p>
            <a:pPr lvl="1"/>
            <a:r>
              <a:rPr lang="en-US" dirty="0"/>
              <a:t>Justice system?</a:t>
            </a:r>
          </a:p>
          <a:p>
            <a:pPr lvl="1"/>
            <a:r>
              <a:rPr lang="en-US" dirty="0"/>
              <a:t>Civic engagement</a:t>
            </a:r>
            <a:r>
              <a:rPr lang="en-US" dirty="0" smtClean="0"/>
              <a:t>?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3860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492896"/>
            <a:ext cx="8441432" cy="762000"/>
          </a:xfrm>
        </p:spPr>
        <p:txBody>
          <a:bodyPr/>
          <a:lstStyle/>
          <a:p>
            <a:pPr algn="ctr"/>
            <a:r>
              <a:rPr lang="en-US" dirty="0" smtClean="0"/>
              <a:t>Quality of entire learning process: </a:t>
            </a:r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47936" y="3387080"/>
            <a:ext cx="8441432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+mj-lt"/>
                <a:ea typeface="+mj-ea"/>
                <a:cs typeface="ＭＳ Ｐゴシック" pitchFamily="84" charset="-128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  <a:cs typeface="ＭＳ Ｐゴシック" pitchFamily="8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  <a:cs typeface="ＭＳ Ｐゴシック" pitchFamily="8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  <a:cs typeface="ＭＳ Ｐゴシック" pitchFamily="8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  <a:cs typeface="ＭＳ Ｐゴシック" pitchFamily="8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DIN-Medium" pitchFamily="-128" charset="0"/>
                <a:ea typeface="ＭＳ Ｐゴシック" pitchFamily="-128" charset="-128"/>
              </a:defRPr>
            </a:lvl9pPr>
          </a:lstStyle>
          <a:p>
            <a:pPr algn="ctr"/>
            <a:r>
              <a:rPr lang="en-US" dirty="0" smtClean="0"/>
              <a:t>Is the </a:t>
            </a:r>
            <a:r>
              <a:rPr lang="en-US" i="1" dirty="0" smtClean="0"/>
              <a:t>process</a:t>
            </a:r>
            <a:r>
              <a:rPr lang="en-US" dirty="0" smtClean="0"/>
              <a:t> leading to faster achievement of goals that matter to learners’ success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4933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802904"/>
            <a:ext cx="8153400" cy="762000"/>
          </a:xfrm>
        </p:spPr>
        <p:txBody>
          <a:bodyPr/>
          <a:lstStyle/>
          <a:p>
            <a:r>
              <a:rPr lang="en-US" sz="2800" dirty="0" smtClean="0"/>
              <a:t>Appendix:  Initial learning engineering readings</a:t>
            </a:r>
            <a:endParaRPr lang="en-US" sz="2800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228600" y="2708920"/>
            <a:ext cx="8401050" cy="297180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292113"/>
                </a:solidFill>
                <a:latin typeface="+mn-lt"/>
                <a:ea typeface="+mn-ea"/>
                <a:cs typeface="ＭＳ Ｐゴシック" pitchFamily="84" charset="-128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6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Why Students Don</a:t>
            </a:r>
            <a:r>
              <a:rPr lang="ja-JP" alt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’</a:t>
            </a:r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t Like School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Daniel Willingham – </a:t>
            </a:r>
            <a:r>
              <a:rPr lang="en-US" sz="1600" i="1" dirty="0" smtClean="0">
                <a:latin typeface="Arial" charset="0"/>
                <a:ea typeface="ヒラギノ角ゴ Pro W3" charset="0"/>
                <a:cs typeface="ヒラギノ角ゴ Pro W3" charset="0"/>
              </a:rPr>
              <a:t>highly readable! ;-) </a:t>
            </a:r>
          </a:p>
          <a:p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Talent is Overrated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Geoffrey Colvin – </a:t>
            </a:r>
            <a:r>
              <a:rPr lang="en-US" sz="1600" i="1" dirty="0" smtClean="0">
                <a:latin typeface="Arial" charset="0"/>
                <a:ea typeface="ヒラギノ角ゴ Pro W3" charset="0"/>
                <a:cs typeface="ヒラギノ角ゴ Pro W3" charset="0"/>
              </a:rPr>
              <a:t>highly readable! ;-) </a:t>
            </a:r>
          </a:p>
          <a:p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E-Learning and the Science of Instruction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Clark and Mayer, 2</a:t>
            </a:r>
            <a:r>
              <a:rPr lang="en-US" sz="1600" baseline="30000" dirty="0" smtClean="0">
                <a:latin typeface="Arial" charset="0"/>
                <a:ea typeface="ヒラギノ角ゴ Pro W3" charset="0"/>
                <a:cs typeface="ヒラギノ角ゴ Pro W3" charset="0"/>
              </a:rPr>
              <a:t>nd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 ed.</a:t>
            </a:r>
          </a:p>
          <a:p>
            <a:r>
              <a:rPr lang="ja-JP" alt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“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First Principles of Learning,</a:t>
            </a:r>
            <a:r>
              <a:rPr lang="ja-JP" alt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”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 Merrill, D., in </a:t>
            </a:r>
            <a:r>
              <a:rPr lang="en-US" sz="1600" dirty="0" err="1" smtClean="0">
                <a:latin typeface="Arial" charset="0"/>
                <a:ea typeface="ヒラギノ角ゴ Pro W3" charset="0"/>
                <a:cs typeface="ヒラギノ角ゴ Pro W3" charset="0"/>
              </a:rPr>
              <a:t>Reigeluth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C. M. &amp; Carr, A. (Eds.), </a:t>
            </a:r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Instructional Design Theories and Models III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2009.</a:t>
            </a:r>
          </a:p>
          <a:p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How People Learn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John </a:t>
            </a:r>
            <a:r>
              <a:rPr lang="en-US" sz="1600" dirty="0" err="1" smtClean="0">
                <a:latin typeface="Arial" charset="0"/>
                <a:ea typeface="ヒラギノ角ゴ Pro W3" charset="0"/>
                <a:cs typeface="ヒラギノ角ゴ Pro W3" charset="0"/>
              </a:rPr>
              <a:t>Bransford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 et al, eds.</a:t>
            </a:r>
          </a:p>
          <a:p>
            <a:r>
              <a:rPr lang="ja-JP" alt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“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The Implications of Research on Expertise for Curriculum and Pedagogy</a:t>
            </a:r>
            <a:r>
              <a:rPr lang="ja-JP" alt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”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David </a:t>
            </a:r>
            <a:r>
              <a:rPr lang="en-US" sz="1600" dirty="0" err="1" smtClean="0">
                <a:latin typeface="Arial" charset="0"/>
                <a:ea typeface="ヒラギノ角ゴ Pro W3" charset="0"/>
                <a:cs typeface="ヒラギノ角ゴ Pro W3" charset="0"/>
              </a:rPr>
              <a:t>Feldon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Education Psychology Review (2007) 19:91–110</a:t>
            </a:r>
          </a:p>
          <a:p>
            <a:r>
              <a:rPr lang="ja-JP" alt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“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Cognitive Task  Analysis,</a:t>
            </a:r>
            <a:r>
              <a:rPr lang="ja-JP" alt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”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 Clark, R.E., </a:t>
            </a:r>
            <a:r>
              <a:rPr lang="en-US" sz="1600" dirty="0" err="1" smtClean="0">
                <a:latin typeface="Arial" charset="0"/>
                <a:ea typeface="ヒラギノ角ゴ Pro W3" charset="0"/>
                <a:cs typeface="ヒラギノ角ゴ Pro W3" charset="0"/>
              </a:rPr>
              <a:t>Feldon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D., van </a:t>
            </a:r>
            <a:r>
              <a:rPr lang="en-US" sz="1600" dirty="0" err="1" smtClean="0">
                <a:latin typeface="Arial" charset="0"/>
                <a:ea typeface="ヒラギノ角ゴ Pro W3" charset="0"/>
                <a:cs typeface="ヒラギノ角ゴ Pro W3" charset="0"/>
              </a:rPr>
              <a:t>Merrienboer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J., Yates, K., and Early, S.. in Spector, J.M., Merrill, M.D., van </a:t>
            </a:r>
            <a:r>
              <a:rPr lang="en-US" sz="1600" dirty="0" err="1" smtClean="0">
                <a:latin typeface="Arial" charset="0"/>
                <a:ea typeface="ヒラギノ角ゴ Pro W3" charset="0"/>
                <a:cs typeface="ヒラギノ角ゴ Pro W3" charset="0"/>
              </a:rPr>
              <a:t>Merrienboer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, J. J. G., &amp; Driscoll, M. P. (Eds.), </a:t>
            </a:r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Handbook of research on educational </a:t>
            </a:r>
            <a:r>
              <a:rPr lang="en-US" sz="1600" b="1" dirty="0" err="1" smtClean="0">
                <a:latin typeface="Arial" charset="0"/>
                <a:ea typeface="ヒラギノ角ゴ Pro W3" charset="0"/>
                <a:cs typeface="ヒラギノ角ゴ Pro W3" charset="0"/>
              </a:rPr>
              <a:t>communciations</a:t>
            </a:r>
            <a:r>
              <a:rPr lang="en-US" sz="1600" b="1" dirty="0" smtClean="0">
                <a:latin typeface="Arial" charset="0"/>
                <a:ea typeface="ヒラギノ角ゴ Pro W3" charset="0"/>
                <a:cs typeface="ヒラギノ角ゴ Pro W3" charset="0"/>
              </a:rPr>
              <a:t> and technology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 (3</a:t>
            </a:r>
            <a:r>
              <a:rPr lang="en-US" sz="1600" baseline="30000" dirty="0" smtClean="0">
                <a:latin typeface="Arial" charset="0"/>
                <a:ea typeface="ヒラギノ角ゴ Pro W3" charset="0"/>
                <a:cs typeface="ヒラギノ角ゴ Pro W3" charset="0"/>
              </a:rPr>
              <a:t>rd</a:t>
            </a:r>
            <a:r>
              <a:rPr lang="en-US" sz="1600" dirty="0" smtClean="0">
                <a:latin typeface="Arial" charset="0"/>
                <a:ea typeface="ヒラギノ角ゴ Pro W3" charset="0"/>
                <a:cs typeface="ヒラギノ角ゴ Pro W3" charset="0"/>
              </a:rPr>
              <a:t> ed., 2007)  Lawrence Erlbaum Associates</a:t>
            </a:r>
            <a:endParaRPr lang="en-US" sz="1600" dirty="0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4405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</a:t>
            </a:r>
            <a:endParaRPr lang="en-US" dirty="0"/>
          </a:p>
        </p:txBody>
      </p:sp>
      <p:sp>
        <p:nvSpPr>
          <p:cNvPr id="1126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hought starter questions</a:t>
            </a:r>
          </a:p>
          <a:p>
            <a:r>
              <a:rPr lang="en-US" dirty="0">
                <a:solidFill>
                  <a:srgbClr val="7A7A7A"/>
                </a:solidFill>
              </a:rPr>
              <a:t>A</a:t>
            </a:r>
            <a:r>
              <a:rPr lang="en-US" dirty="0" smtClean="0">
                <a:solidFill>
                  <a:srgbClr val="7A7A7A"/>
                </a:solidFill>
              </a:rPr>
              <a:t>ssessing quality</a:t>
            </a:r>
          </a:p>
          <a:p>
            <a:r>
              <a:rPr lang="en-US" dirty="0">
                <a:solidFill>
                  <a:srgbClr val="7A7A7A"/>
                </a:solidFill>
              </a:rPr>
              <a:t>Q</a:t>
            </a:r>
            <a:r>
              <a:rPr lang="en-US" dirty="0" smtClean="0">
                <a:solidFill>
                  <a:srgbClr val="7A7A7A"/>
                </a:solidFill>
              </a:rPr>
              <a:t>uality </a:t>
            </a:r>
            <a:r>
              <a:rPr lang="en-US" dirty="0">
                <a:solidFill>
                  <a:srgbClr val="7A7A7A"/>
                </a:solidFill>
              </a:rPr>
              <a:t>solutions for education</a:t>
            </a:r>
          </a:p>
          <a:p>
            <a:r>
              <a:rPr lang="en-US" dirty="0" smtClean="0">
                <a:solidFill>
                  <a:srgbClr val="7A7A7A"/>
                </a:solidFill>
              </a:rPr>
              <a:t>Evidence possibilities</a:t>
            </a:r>
            <a:endParaRPr lang="en-US" dirty="0">
              <a:solidFill>
                <a:srgbClr val="7A7A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4242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</a:t>
            </a:r>
            <a:endParaRPr lang="en-US" dirty="0"/>
          </a:p>
        </p:txBody>
      </p:sp>
      <p:sp>
        <p:nvSpPr>
          <p:cNvPr id="1126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7A7A7A"/>
                </a:solidFill>
              </a:rPr>
              <a:t>Thought starter questions</a:t>
            </a:r>
          </a:p>
          <a:p>
            <a:r>
              <a:rPr lang="en-US" dirty="0"/>
              <a:t>A</a:t>
            </a:r>
            <a:r>
              <a:rPr lang="en-US" dirty="0" smtClean="0"/>
              <a:t>ssessing quality</a:t>
            </a:r>
          </a:p>
          <a:p>
            <a:r>
              <a:rPr lang="en-US" dirty="0">
                <a:solidFill>
                  <a:srgbClr val="7A7A7A"/>
                </a:solidFill>
              </a:rPr>
              <a:t>Q</a:t>
            </a:r>
            <a:r>
              <a:rPr lang="en-US" dirty="0" smtClean="0">
                <a:solidFill>
                  <a:srgbClr val="7A7A7A"/>
                </a:solidFill>
              </a:rPr>
              <a:t>uality </a:t>
            </a:r>
            <a:r>
              <a:rPr lang="en-US" dirty="0">
                <a:solidFill>
                  <a:srgbClr val="7A7A7A"/>
                </a:solidFill>
              </a:rPr>
              <a:t>solutions for education</a:t>
            </a:r>
          </a:p>
          <a:p>
            <a:r>
              <a:rPr lang="en-US" dirty="0" smtClean="0">
                <a:solidFill>
                  <a:srgbClr val="7A7A7A"/>
                </a:solidFill>
              </a:rPr>
              <a:t>Evidence possibilities</a:t>
            </a:r>
            <a:endParaRPr lang="en-US" dirty="0">
              <a:solidFill>
                <a:srgbClr val="7A7A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687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essment of qua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In education, data is often confused with a problem</a:t>
            </a:r>
          </a:p>
          <a:p>
            <a:r>
              <a:rPr lang="en-US" sz="2400" dirty="0" smtClean="0"/>
              <a:t>Other fields think about quality and data – medicine:</a:t>
            </a:r>
          </a:p>
          <a:p>
            <a:pPr lvl="1"/>
            <a:r>
              <a:rPr lang="en-US" sz="2200" dirty="0" smtClean="0"/>
              <a:t>What’s empirically known, science, plays a key role</a:t>
            </a:r>
          </a:p>
          <a:p>
            <a:pPr lvl="1"/>
            <a:r>
              <a:rPr lang="en-US" sz="2200" dirty="0" smtClean="0"/>
              <a:t>Still complex – outcome measures not easily settled</a:t>
            </a:r>
          </a:p>
          <a:p>
            <a:pPr lvl="1"/>
            <a:r>
              <a:rPr lang="en-US" sz="2200" dirty="0" smtClean="0"/>
              <a:t>Art remains – patient interactions, communications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13136776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problem solving – other domai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2971800"/>
            <a:ext cx="7973888" cy="32004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Engineering as model</a:t>
            </a:r>
          </a:p>
          <a:p>
            <a:r>
              <a:rPr lang="en-US" dirty="0" smtClean="0"/>
              <a:t>Clinicians – engineers of biological science</a:t>
            </a:r>
          </a:p>
          <a:p>
            <a:r>
              <a:rPr lang="en-US" dirty="0" smtClean="0"/>
              <a:t>Engineers – draw on various sciences</a:t>
            </a:r>
          </a:p>
          <a:p>
            <a:r>
              <a:rPr lang="en-US" dirty="0" smtClean="0"/>
              <a:t>Learning engineers – draw on learning science</a:t>
            </a:r>
          </a:p>
          <a:p>
            <a:pPr lvl="1"/>
            <a:r>
              <a:rPr lang="en-US" dirty="0" smtClean="0"/>
              <a:t>Who are our “learning engineers”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484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of an engineering solution?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Often refines the original problem – provides and uses clarity</a:t>
            </a:r>
          </a:p>
          <a:p>
            <a:r>
              <a:rPr lang="en-US" sz="2000" dirty="0" smtClean="0"/>
              <a:t>Guided/constrained by empirical science about the natural world</a:t>
            </a:r>
          </a:p>
          <a:p>
            <a:r>
              <a:rPr lang="en-US" sz="2000" dirty="0" smtClean="0"/>
              <a:t>Fits within constraints – optimizes against some</a:t>
            </a:r>
          </a:p>
          <a:p>
            <a:r>
              <a:rPr lang="en-US" sz="2000" dirty="0"/>
              <a:t>Often reuses other quality </a:t>
            </a:r>
            <a:r>
              <a:rPr lang="en-US" sz="2000" dirty="0" smtClean="0"/>
              <a:t>components</a:t>
            </a:r>
          </a:p>
          <a:p>
            <a:r>
              <a:rPr lang="en-US" sz="2000" dirty="0" smtClean="0"/>
              <a:t>Easy to use/implement</a:t>
            </a:r>
          </a:p>
          <a:p>
            <a:r>
              <a:rPr lang="en-US" sz="2000" dirty="0" smtClean="0"/>
              <a:t>Efficiently scalable</a:t>
            </a:r>
          </a:p>
          <a:p>
            <a:r>
              <a:rPr lang="en-US" sz="2000" dirty="0" smtClean="0"/>
              <a:t>Works as designed</a:t>
            </a:r>
          </a:p>
          <a:p>
            <a:r>
              <a:rPr lang="en-US" sz="2000" dirty="0"/>
              <a:t>F</a:t>
            </a:r>
            <a:r>
              <a:rPr lang="en-US" sz="2000" dirty="0" smtClean="0"/>
              <a:t>ails gracefully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130591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</a:t>
            </a:r>
            <a:endParaRPr lang="en-US" dirty="0"/>
          </a:p>
        </p:txBody>
      </p:sp>
      <p:sp>
        <p:nvSpPr>
          <p:cNvPr id="1126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7A7A7A"/>
                </a:solidFill>
              </a:rPr>
              <a:t>Thought starter questions</a:t>
            </a:r>
          </a:p>
          <a:p>
            <a:r>
              <a:rPr lang="en-US" dirty="0">
                <a:solidFill>
                  <a:srgbClr val="7A7A7A"/>
                </a:solidFill>
              </a:rPr>
              <a:t>A</a:t>
            </a:r>
            <a:r>
              <a:rPr lang="en-US" dirty="0" smtClean="0">
                <a:solidFill>
                  <a:srgbClr val="7A7A7A"/>
                </a:solidFill>
              </a:rPr>
              <a:t>ssessing quality</a:t>
            </a:r>
          </a:p>
          <a:p>
            <a:r>
              <a:rPr lang="en-US" dirty="0">
                <a:solidFill>
                  <a:schemeClr val="tx1"/>
                </a:solidFill>
              </a:rPr>
              <a:t>Q</a:t>
            </a:r>
            <a:r>
              <a:rPr lang="en-US" dirty="0" smtClean="0">
                <a:solidFill>
                  <a:schemeClr val="tx1"/>
                </a:solidFill>
              </a:rPr>
              <a:t>uality </a:t>
            </a:r>
            <a:r>
              <a:rPr lang="en-US" dirty="0">
                <a:solidFill>
                  <a:schemeClr val="tx1"/>
                </a:solidFill>
              </a:rPr>
              <a:t>solutions for education</a:t>
            </a:r>
          </a:p>
          <a:p>
            <a:r>
              <a:rPr lang="en-US" dirty="0" smtClean="0">
                <a:solidFill>
                  <a:srgbClr val="7A7A7A"/>
                </a:solidFill>
              </a:rPr>
              <a:t>Evidence possibilities</a:t>
            </a:r>
            <a:endParaRPr lang="en-US" dirty="0">
              <a:solidFill>
                <a:srgbClr val="7A7A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97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56792"/>
            <a:ext cx="8153400" cy="76200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fine the problem– what success matter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2471192"/>
            <a:ext cx="7772400" cy="3200400"/>
          </a:xfrm>
        </p:spPr>
        <p:txBody>
          <a:bodyPr/>
          <a:lstStyle/>
          <a:p>
            <a:r>
              <a:rPr lang="en-US" dirty="0" smtClean="0"/>
              <a:t>Serious “deliberate practice” during learning</a:t>
            </a:r>
          </a:p>
          <a:p>
            <a:r>
              <a:rPr lang="en-US" dirty="0" smtClean="0"/>
              <a:t>Specific objective mastery</a:t>
            </a:r>
          </a:p>
          <a:p>
            <a:r>
              <a:rPr lang="en-US" dirty="0" smtClean="0"/>
              <a:t>Success in the next courses that need “this”</a:t>
            </a:r>
          </a:p>
          <a:p>
            <a:r>
              <a:rPr lang="en-US" dirty="0" smtClean="0"/>
              <a:t>Retention in systematic learning </a:t>
            </a:r>
          </a:p>
          <a:p>
            <a:r>
              <a:rPr lang="en-US" dirty="0" smtClean="0"/>
              <a:t>Employment – and employer satisfaction</a:t>
            </a:r>
          </a:p>
          <a:p>
            <a:r>
              <a:rPr lang="en-US" dirty="0" smtClean="0"/>
              <a:t>Dana </a:t>
            </a:r>
            <a:r>
              <a:rPr lang="en-US" dirty="0" err="1" smtClean="0"/>
              <a:t>Gioia</a:t>
            </a:r>
            <a:r>
              <a:rPr lang="en-US" dirty="0" smtClean="0"/>
              <a:t>:  </a:t>
            </a:r>
            <a:br>
              <a:rPr lang="en-US" dirty="0" smtClean="0"/>
            </a:br>
            <a:r>
              <a:rPr lang="en-US" dirty="0" smtClean="0"/>
              <a:t>“Productive citizen for a free society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6077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484784"/>
            <a:ext cx="8153400" cy="762000"/>
          </a:xfrm>
        </p:spPr>
        <p:txBody>
          <a:bodyPr/>
          <a:lstStyle/>
          <a:p>
            <a:r>
              <a:rPr lang="en-US" dirty="0" smtClean="0"/>
              <a:t>Refine the problem</a:t>
            </a:r>
            <a:endParaRPr lang="en-US" dirty="0"/>
          </a:p>
        </p:txBody>
      </p:sp>
      <p:sp>
        <p:nvSpPr>
          <p:cNvPr id="4" name="Rounded Rectangle 24"/>
          <p:cNvSpPr>
            <a:spLocks noChangeArrowheads="1"/>
          </p:cNvSpPr>
          <p:nvPr/>
        </p:nvSpPr>
        <p:spPr bwMode="auto">
          <a:xfrm>
            <a:off x="4283968" y="2408485"/>
            <a:ext cx="18288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1E2172"/>
                </a:solidFill>
                <a:ea typeface="MS PGothic" pitchFamily="34" charset="-128"/>
              </a:rPr>
              <a:t>Learning Events </a:t>
            </a:r>
          </a:p>
          <a:p>
            <a:pPr algn="ctr"/>
            <a:r>
              <a:rPr lang="en-US" sz="1100" b="1">
                <a:solidFill>
                  <a:srgbClr val="1E2172"/>
                </a:solidFill>
                <a:ea typeface="MS PGothic" pitchFamily="34" charset="-128"/>
              </a:rPr>
              <a:t>(hidden - inside students’ minds)</a:t>
            </a:r>
          </a:p>
        </p:txBody>
      </p:sp>
      <p:sp>
        <p:nvSpPr>
          <p:cNvPr id="5" name="Rounded Rectangle 26"/>
          <p:cNvSpPr>
            <a:spLocks noChangeArrowheads="1"/>
          </p:cNvSpPr>
          <p:nvPr/>
        </p:nvSpPr>
        <p:spPr bwMode="auto">
          <a:xfrm>
            <a:off x="6551240" y="2420888"/>
            <a:ext cx="19812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 algn="ctr">
            <a:solidFill>
              <a:schemeClr val="accent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1E2172"/>
                </a:solidFill>
              </a:rPr>
              <a:t>Student</a:t>
            </a:r>
          </a:p>
          <a:p>
            <a:pPr algn="ctr"/>
            <a:r>
              <a:rPr lang="en-US" sz="1400" b="1">
                <a:solidFill>
                  <a:srgbClr val="1E2172"/>
                </a:solidFill>
              </a:rPr>
              <a:t>Performance</a:t>
            </a:r>
            <a:br>
              <a:rPr lang="en-US" sz="1400" b="1">
                <a:solidFill>
                  <a:srgbClr val="1E2172"/>
                </a:solidFill>
              </a:rPr>
            </a:br>
            <a:r>
              <a:rPr lang="en-US" sz="1100" b="1">
                <a:solidFill>
                  <a:srgbClr val="1E2172"/>
                </a:solidFill>
              </a:rPr>
              <a:t>(observable -indicates knowledge)</a:t>
            </a:r>
          </a:p>
        </p:txBody>
      </p:sp>
      <p:sp>
        <p:nvSpPr>
          <p:cNvPr id="6" name="Rounded Rectangle 24"/>
          <p:cNvSpPr>
            <a:spLocks noChangeArrowheads="1"/>
          </p:cNvSpPr>
          <p:nvPr/>
        </p:nvSpPr>
        <p:spPr bwMode="auto">
          <a:xfrm>
            <a:off x="2023120" y="2420888"/>
            <a:ext cx="1828800" cy="864096"/>
          </a:xfrm>
          <a:prstGeom prst="roundRect">
            <a:avLst>
              <a:gd name="adj" fmla="val 0"/>
            </a:avLst>
          </a:prstGeom>
          <a:solidFill>
            <a:srgbClr val="C8CED6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tIns="0" anchor="ctr"/>
          <a:lstStyle/>
          <a:p>
            <a:pPr algn="ctr"/>
            <a:r>
              <a:rPr lang="en-US" sz="1400" b="1" dirty="0">
                <a:solidFill>
                  <a:srgbClr val="1E2172"/>
                </a:solidFill>
                <a:ea typeface="MS PGothic" pitchFamily="34" charset="-128"/>
              </a:rPr>
              <a:t>Instructional Events</a:t>
            </a:r>
          </a:p>
          <a:p>
            <a:pPr algn="ctr"/>
            <a:r>
              <a:rPr lang="en-US" sz="1100" b="1" dirty="0">
                <a:solidFill>
                  <a:srgbClr val="1E2172"/>
                </a:solidFill>
                <a:ea typeface="MS PGothic" pitchFamily="34" charset="-128"/>
              </a:rPr>
              <a:t>(in the learning environment</a:t>
            </a:r>
            <a:r>
              <a:rPr lang="en-US" sz="1100" b="1" dirty="0" smtClean="0">
                <a:solidFill>
                  <a:srgbClr val="1E2172"/>
                </a:solidFill>
                <a:ea typeface="MS PGothic" pitchFamily="34" charset="-128"/>
              </a:rPr>
              <a:t>)	</a:t>
            </a:r>
            <a:endParaRPr lang="en-US" sz="1100" b="1" dirty="0">
              <a:solidFill>
                <a:srgbClr val="1E2172"/>
              </a:solidFill>
              <a:ea typeface="MS PGothic" pitchFamily="34" charset="-128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6135216" y="2852936"/>
            <a:ext cx="3810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3902968" y="2852936"/>
            <a:ext cx="3810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6540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.9BMrUXECsorYX.nWc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LKVXif6Eik.LJZjZ6zFQ"/>
</p:tagLst>
</file>

<file path=ppt/theme/theme1.xml><?xml version="1.0" encoding="utf-8"?>
<a:theme xmlns:a="http://schemas.openxmlformats.org/drawingml/2006/main" name="Gates_ppt_1">
  <a:themeElements>
    <a:clrScheme name="">
      <a:dk1>
        <a:srgbClr val="292113"/>
      </a:dk1>
      <a:lt1>
        <a:srgbClr val="EFEDE7"/>
      </a:lt1>
      <a:dk2>
        <a:srgbClr val="000000"/>
      </a:dk2>
      <a:lt2>
        <a:srgbClr val="746314"/>
      </a:lt2>
      <a:accent1>
        <a:srgbClr val="60999A"/>
      </a:accent1>
      <a:accent2>
        <a:srgbClr val="D27D22"/>
      </a:accent2>
      <a:accent3>
        <a:srgbClr val="F6F4F1"/>
      </a:accent3>
      <a:accent4>
        <a:srgbClr val="211B0E"/>
      </a:accent4>
      <a:accent5>
        <a:srgbClr val="B6CACA"/>
      </a:accent5>
      <a:accent6>
        <a:srgbClr val="BE711E"/>
      </a:accent6>
      <a:hlink>
        <a:srgbClr val="3086AB"/>
      </a:hlink>
      <a:folHlink>
        <a:srgbClr val="B69462"/>
      </a:folHlink>
    </a:clrScheme>
    <a:fontScheme name="Office Theme">
      <a:majorFont>
        <a:latin typeface="DIN-Medium"/>
        <a:ea typeface="ＭＳ Ｐゴシック"/>
        <a:cs typeface=""/>
      </a:majorFont>
      <a:minorFont>
        <a:latin typeface="DIN-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28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292113"/>
        </a:dk1>
        <a:lt1>
          <a:srgbClr val="ECE7D0"/>
        </a:lt1>
        <a:dk2>
          <a:srgbClr val="000000"/>
        </a:dk2>
        <a:lt2>
          <a:srgbClr val="746314"/>
        </a:lt2>
        <a:accent1>
          <a:srgbClr val="60999A"/>
        </a:accent1>
        <a:accent2>
          <a:srgbClr val="D27D22"/>
        </a:accent2>
        <a:accent3>
          <a:srgbClr val="F4F1E4"/>
        </a:accent3>
        <a:accent4>
          <a:srgbClr val="211B0E"/>
        </a:accent4>
        <a:accent5>
          <a:srgbClr val="B6CACA"/>
        </a:accent5>
        <a:accent6>
          <a:srgbClr val="BE711E"/>
        </a:accent6>
        <a:hlink>
          <a:srgbClr val="3086AB"/>
        </a:hlink>
        <a:folHlink>
          <a:srgbClr val="B6946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ates_ppt_1</Template>
  <TotalTime>3139</TotalTime>
  <Words>1149</Words>
  <Application>Microsoft Macintosh PowerPoint</Application>
  <PresentationFormat>On-screen Show (4:3)</PresentationFormat>
  <Paragraphs>225</Paragraphs>
  <Slides>19</Slides>
  <Notes>1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Gates_ppt_1</vt:lpstr>
      <vt:lpstr>Assessing quality: Learner analytics, or human intuition?</vt:lpstr>
      <vt:lpstr>Topics</vt:lpstr>
      <vt:lpstr>Topics</vt:lpstr>
      <vt:lpstr>Assessment of quality</vt:lpstr>
      <vt:lpstr>Quality problem solving – other domains</vt:lpstr>
      <vt:lpstr>Quality of an engineering solution? </vt:lpstr>
      <vt:lpstr>Topics</vt:lpstr>
      <vt:lpstr> Refine the problem– what success matters?</vt:lpstr>
      <vt:lpstr>Refine the problem</vt:lpstr>
      <vt:lpstr>Refine the problem</vt:lpstr>
      <vt:lpstr>Refine the problem– add science</vt:lpstr>
      <vt:lpstr>Clarify (and use) actual constraints</vt:lpstr>
      <vt:lpstr>Topics</vt:lpstr>
      <vt:lpstr>Checklists</vt:lpstr>
      <vt:lpstr>Monitor actual vs. designed delivery</vt:lpstr>
      <vt:lpstr>Learning evidence</vt:lpstr>
      <vt:lpstr>Longer term success evaluation</vt:lpstr>
      <vt:lpstr>Quality of entire learning process: </vt:lpstr>
      <vt:lpstr>Appendix:  Initial learning engineering readings</vt:lpstr>
    </vt:vector>
  </TitlesOfParts>
  <Manager/>
  <Company>Kaplan, Inc.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essing quality: Learner analytics, or human intuition?</dc:title>
  <dc:subject/>
  <dc:creator>Bror Saxberg, CLO</dc:creator>
  <cp:keywords/>
  <dc:description>Cite as: Saxberg, B. (2012, January). Assessing quality: Learner analytics, or human intuition?. Presentation at Conversations on quality: a symposium on k-12 online learning, Cambridge, MA.
Unless otherwise specified, this work is licensed under a Creat</dc:description>
  <cp:lastModifiedBy>Brandon Muramatsu</cp:lastModifiedBy>
  <cp:revision>40</cp:revision>
  <cp:lastPrinted>2012-01-23T14:21:25Z</cp:lastPrinted>
  <dcterms:created xsi:type="dcterms:W3CDTF">2012-01-17T15:17:31Z</dcterms:created>
  <dcterms:modified xsi:type="dcterms:W3CDTF">2012-01-27T19:22:07Z</dcterms:modified>
  <cp:category/>
</cp:coreProperties>
</file>